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9"/>
  </p:notesMasterIdLst>
  <p:handoutMasterIdLst>
    <p:handoutMasterId r:id="rId10"/>
  </p:handoutMasterIdLst>
  <p:sldIdLst>
    <p:sldId id="2147140411" r:id="rId5"/>
    <p:sldId id="2147140426" r:id="rId6"/>
    <p:sldId id="2147140427" r:id="rId7"/>
    <p:sldId id="2147140428" r:id="rId8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2147140411"/>
            <p14:sldId id="2147140426"/>
            <p14:sldId id="2147140427"/>
            <p14:sldId id="214714042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2212BB9-A5CF-D335-3301-776C81AF3ABE}" name="Lachlan Vass" initials="LV" userId="S::lachlan.vass@e61.in::3865f71c-c396-40c5-8390-2fc8d944de27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94"/>
  </p:normalViewPr>
  <p:slideViewPr>
    <p:cSldViewPr snapToGrid="0">
      <p:cViewPr>
        <p:scale>
          <a:sx n="111" d="100"/>
          <a:sy n="111" d="100"/>
        </p:scale>
        <p:origin x="55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7/2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7/2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8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004CB0-0CE3-3376-69B4-2522D3E31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4591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004CB0-0CE3-3376-69B4-2522D3E3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4F42D9-7ACE-EF54-8740-DF8227CBF8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7417" y="4703191"/>
            <a:ext cx="4698834" cy="403828"/>
          </a:xfrm>
        </p:spPr>
        <p:txBody>
          <a:bodyPr/>
          <a:lstStyle/>
          <a:p>
            <a:endParaRPr lang="en-US">
              <a:latin typeface="Graphik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DA241-86F8-9BA0-6847-FAF7BA0BC7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ED62A1A-3CB8-BDF5-1253-2D06AB83F04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4206300" y="-259080"/>
            <a:ext cx="6921666" cy="6858000"/>
          </a:xfr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828433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3BEDAA0-231F-67F3-8F26-00D43A1593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90BA32-BAEA-25DA-576F-AB11571DE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aper summar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9429C76-6C80-CB16-DA5A-BC567B1CBB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9618294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C11303-8BDC-CE4B-AEA9-824EEDA2A4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9D22A2-A993-2B67-8646-1C9EB32408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36A565-1605-23C6-4C54-F22FA5802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pproach and identific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44A298-B7EA-2630-F608-F741BD2750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6546097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AE1DF9-4C40-31DF-9624-4AA265CBF5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F35CCA-A4A8-A503-0973-7C297DA7C1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036631C-BA93-DD6D-F27C-7BCB93FD64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otential limitation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81DA48-EBFE-B35C-09BB-8263CE7BE4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A2C223B-CD89-284B-0B7E-9BCD30F4F2A1}"/>
              </a:ext>
            </a:extLst>
          </p:cNvPr>
          <p:cNvSpPr txBox="1"/>
          <p:nvPr/>
        </p:nvSpPr>
        <p:spPr>
          <a:xfrm>
            <a:off x="457199" y="1543312"/>
            <a:ext cx="27259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37098290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4025935-85eb-43e8-ab32-734675053e7f" xsi:nil="true"/>
    <lcf76f155ced4ddcb4097134ff3c332f xmlns="aa802c90-64f7-4260-a678-c5c09559402a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8A1619F266734FBC2B48FB95398739" ma:contentTypeVersion="18" ma:contentTypeDescription="Create a new document." ma:contentTypeScope="" ma:versionID="8dc4163b27f0ec44a22c6d7358323f5f">
  <xsd:schema xmlns:xsd="http://www.w3.org/2001/XMLSchema" xmlns:xs="http://www.w3.org/2001/XMLSchema" xmlns:p="http://schemas.microsoft.com/office/2006/metadata/properties" xmlns:ns2="aa802c90-64f7-4260-a678-c5c09559402a" xmlns:ns3="d4025935-85eb-43e8-ab32-734675053e7f" targetNamespace="http://schemas.microsoft.com/office/2006/metadata/properties" ma:root="true" ma:fieldsID="a1176a965c39d1ac1c7d6ef690b32559" ns2:_="" ns3:_="">
    <xsd:import namespace="aa802c90-64f7-4260-a678-c5c09559402a"/>
    <xsd:import namespace="d4025935-85eb-43e8-ab32-734675053e7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802c90-64f7-4260-a678-c5c0955940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8bce0e04-9c7f-4626-8cb4-29f8b9ace2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025935-85eb-43e8-ab32-734675053e7f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bd7d9116-efc1-484d-8b57-8af332a5bfd6}" ma:internalName="TaxCatchAll" ma:showField="CatchAllData" ma:web="d4025935-85eb-43e8-ab32-734675053e7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E36B762-179B-48EA-90B2-E74079BA15DE}">
  <ds:schemaRefs>
    <ds:schemaRef ds:uri="d4025935-85eb-43e8-ab32-734675053e7f"/>
    <ds:schemaRef ds:uri="aa802c90-64f7-4260-a678-c5c09559402a"/>
    <ds:schemaRef ds:uri="http://www.w3.org/XML/1998/namespace"/>
    <ds:schemaRef ds:uri="http://schemas.microsoft.com/office/infopath/2007/PartnerControls"/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54E5144-405F-49D2-89C0-6C01A508B47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802c90-64f7-4260-a678-c5c09559402a"/>
    <ds:schemaRef ds:uri="d4025935-85eb-43e8-ab32-734675053e7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61 general template (1)</Template>
  <TotalTime>293</TotalTime>
  <Words>14</Words>
  <Application>Microsoft Office PowerPoint</Application>
  <PresentationFormat>Widescreen</PresentationFormat>
  <Paragraphs>10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Graphik</vt:lpstr>
      <vt:lpstr>GT Sectra Fine</vt:lpstr>
      <vt:lpstr>Proxima Nova Rg</vt:lpstr>
      <vt:lpstr>System Font</vt:lpstr>
      <vt:lpstr>e61 slide master</vt:lpstr>
      <vt:lpstr>think-cell Slide</vt:lpstr>
      <vt:lpstr>PowerPoint Presentation</vt:lpstr>
      <vt:lpstr>Paper summary</vt:lpstr>
      <vt:lpstr>Approach and identification</vt:lpstr>
      <vt:lpstr>Potential limit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tt Nolan</dc:creator>
  <cp:lastModifiedBy>Matt Nolan</cp:lastModifiedBy>
  <cp:revision>1</cp:revision>
  <dcterms:created xsi:type="dcterms:W3CDTF">2025-07-27T23:18:17Z</dcterms:created>
  <dcterms:modified xsi:type="dcterms:W3CDTF">2025-07-28T04:11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8A1619F266734FBC2B48FB95398739</vt:lpwstr>
  </property>
  <property fmtid="{D5CDD505-2E9C-101B-9397-08002B2CF9AE}" pid="3" name="MediaServiceImageTags">
    <vt:lpwstr/>
  </property>
</Properties>
</file>